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588" r:id="rId5"/>
  </p:sldIdLst>
  <p:sldSz cx="12192000" cy="6858000"/>
  <p:notesSz cx="7315200" cy="9601200"/>
  <p:custDataLst>
    <p:tags r:id="rId8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047" userDrawn="1">
          <p15:clr>
            <a:srgbClr val="A4A3A4"/>
          </p15:clr>
        </p15:guide>
        <p15:guide id="12" orient="horz" pos="1440" userDrawn="1">
          <p15:clr>
            <a:srgbClr val="A4A3A4"/>
          </p15:clr>
        </p15:guide>
        <p15:guide id="13" orient="horz" pos="2568" userDrawn="1">
          <p15:clr>
            <a:srgbClr val="A4A3A4"/>
          </p15:clr>
        </p15:guide>
        <p15:guide id="14" orient="horz" pos="3370" userDrawn="1">
          <p15:clr>
            <a:srgbClr val="A4A3A4"/>
          </p15:clr>
        </p15:guide>
        <p15:guide id="15" orient="horz" pos="3589" userDrawn="1">
          <p15:clr>
            <a:srgbClr val="A4A3A4"/>
          </p15:clr>
        </p15:guide>
        <p15:guide id="16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der Kuur, Cindy K" initials="CV" lastIdx="7" clrIdx="0">
    <p:extLst>
      <p:ext uri="{19B8F6BF-5375-455C-9EA6-DF929625EA0E}">
        <p15:presenceInfo xmlns:p15="http://schemas.microsoft.com/office/powerpoint/2012/main" userId="Vander Kuur, Cindy K" providerId="None"/>
      </p:ext>
    </p:extLst>
  </p:cmAuthor>
  <p:cmAuthor id="2" name="Hsu, Audry" initials="AH" lastIdx="7" clrIdx="1">
    <p:extLst>
      <p:ext uri="{19B8F6BF-5375-455C-9EA6-DF929625EA0E}">
        <p15:presenceInfo xmlns:p15="http://schemas.microsoft.com/office/powerpoint/2012/main" userId="Hsu, Audry" providerId="None"/>
      </p:ext>
    </p:extLst>
  </p:cmAuthor>
  <p:cmAuthor id="3" name="Dillon, Patrick" initials="DP" lastIdx="5" clrIdx="2">
    <p:extLst>
      <p:ext uri="{19B8F6BF-5375-455C-9EA6-DF929625EA0E}">
        <p15:presenceInfo xmlns:p15="http://schemas.microsoft.com/office/powerpoint/2012/main" userId="S::pdillon@deloitte.com::88477043-1ef2-4259-a85f-195fb2de66a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5234"/>
    <a:srgbClr val="007AA8"/>
    <a:srgbClr val="69AF78"/>
    <a:srgbClr val="000000"/>
    <a:srgbClr val="FFCD00"/>
    <a:srgbClr val="ED8B00"/>
    <a:srgbClr val="DB291C"/>
    <a:srgbClr val="FF9900"/>
    <a:srgbClr val="C00000"/>
    <a:srgbClr val="3C8A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26" autoAdjust="0"/>
    <p:restoredTop sz="88575" autoAdjust="0"/>
  </p:normalViewPr>
  <p:slideViewPr>
    <p:cSldViewPr snapToGrid="0">
      <p:cViewPr varScale="1">
        <p:scale>
          <a:sx n="59" d="100"/>
          <a:sy n="59" d="100"/>
        </p:scale>
        <p:origin x="1024" y="52"/>
      </p:cViewPr>
      <p:guideLst>
        <p:guide/>
        <p:guide orient="horz" pos="2047"/>
        <p:guide orient="horz" pos="1440"/>
        <p:guide orient="horz" pos="2568"/>
        <p:guide orient="horz" pos="3370"/>
        <p:guide orient="horz" pos="3589"/>
        <p:guide pos="42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2/2021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034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xamples from the Deloitte Foundation - Forensic 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xamples from the Deloitte Foundation - Forensic 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xamples from the Deloitte Foundation - Forensic 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xamples from the Deloitte Foundation - Forensic 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222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 dirty="0">
                <a:solidFill>
                  <a:schemeClr val="bg1"/>
                </a:solidFill>
              </a:rPr>
              <a:t>Co-brand</a:t>
            </a:r>
            <a:br>
              <a:rPr lang="en-US" sz="1600" noProof="0" dirty="0">
                <a:solidFill>
                  <a:schemeClr val="bg1"/>
                </a:solidFill>
              </a:rPr>
            </a:br>
            <a:r>
              <a:rPr lang="en-US" sz="16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6115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xamples from the Deloitte Foundation - Forensic 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20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xamples from the Deloitte Foundation - Forensic 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xamples from the Deloitte Foundation - Forensic 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xamples from the Deloitte Foundation - Forensic 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Examples from the Deloitte Foundation - Forensic 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Copyright © 2019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168550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Effective Learning Through Cases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Examples from the Deloitte Foundation - Forensic </a:t>
            </a:r>
          </a:p>
        </p:txBody>
      </p:sp>
      <p:sp>
        <p:nvSpPr>
          <p:cNvPr id="1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 algn="l" defTabSz="1219170" rtl="0" eaLnBrk="1" latinLnBrk="0" hangingPunct="1"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 b="0" noProof="0" dirty="0">
                <a:solidFill>
                  <a:schemeClr val="tx1"/>
                </a:solidFill>
                <a:latin typeface="+mn-lt"/>
              </a:rPr>
              <a:t>Copyright © 2021 Deloitte Development LL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56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8" r:id="rId24"/>
    <p:sldLayoutId id="2147483715" r:id="rId25"/>
    <p:sldLayoutId id="2147483716" r:id="rId26"/>
    <p:sldLayoutId id="2147483717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7B391D4-CBE0-4AEF-B118-1B0D1ABA51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800" dirty="0"/>
              <a:t>: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48E42-9893-4985-A4B5-1191F4977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cs typeface="Arial" panose="020B0604020202020204" pitchFamily="34" charset="0"/>
              </a:rPr>
              <a:t>Deloitte Forensic Accounting </a:t>
            </a:r>
            <a:r>
              <a:rPr lang="en-US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Case Study Deep Dive and Applied Analytics</a:t>
            </a:r>
            <a:br>
              <a:rPr lang="en-US" b="1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</a:br>
            <a:r>
              <a:rPr lang="en-US" sz="1600" dirty="0">
                <a:solidFill>
                  <a:srgbClr val="000000"/>
                </a:solidFill>
                <a:ea typeface="Chronicle Display Black" charset="0"/>
                <a:cs typeface="Chronicle Display Black" charset="0"/>
              </a:rPr>
              <a:t>The session will include a walkthrough of a forensic accounting case study to highlight a typical engagement lifecycle and analytical tools utilized to conduct an investigation.</a:t>
            </a:r>
            <a:endParaRPr lang="en-US" sz="16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D3B469-7D07-4B44-BEA2-C3A3A3F485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900" y="1208616"/>
            <a:ext cx="11252200" cy="4633383"/>
          </a:xfrm>
        </p:spPr>
        <p:txBody>
          <a:bodyPr/>
          <a:lstStyle/>
          <a:p>
            <a:pPr marL="400050" lvl="1" indent="0" eaLnBrk="0" hangingPunct="0">
              <a:buClr>
                <a:srgbClr val="002060"/>
              </a:buClr>
              <a:buNone/>
            </a:pPr>
            <a:endParaRPr lang="en-US" sz="1100" u="sng" dirty="0"/>
          </a:p>
          <a:p>
            <a:pPr marL="400050" lvl="1" indent="0" eaLnBrk="0" hangingPunct="0">
              <a:buClr>
                <a:srgbClr val="002060"/>
              </a:buClr>
              <a:buNone/>
            </a:pPr>
            <a:r>
              <a:rPr lang="en-US" b="1" u="sng" dirty="0">
                <a:ea typeface="Times"/>
                <a:cs typeface="Times New Roman" pitchFamily="18" charset="0"/>
              </a:rPr>
              <a:t>Access cases using the QR code or by Googling – Deloitte Forensic Case Studies</a:t>
            </a:r>
            <a:endParaRPr lang="en-US" sz="1600" b="1" dirty="0">
              <a:ea typeface="Times"/>
              <a:cs typeface="Times New Roman" pitchFamily="18" charset="0"/>
            </a:endParaRPr>
          </a:p>
          <a:p>
            <a:pPr eaLnBrk="0" hangingPunct="0">
              <a:buClr>
                <a:schemeClr val="tx1"/>
              </a:buClr>
            </a:pPr>
            <a:endParaRPr lang="en-US" sz="1400" dirty="0">
              <a:solidFill>
                <a:srgbClr val="575757"/>
              </a:solidFill>
              <a:ea typeface="Times"/>
              <a:cs typeface="Times New Roman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37B005-0222-4F78-A97E-A240F3DB49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48" y="2089178"/>
            <a:ext cx="6083603" cy="380034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903774F-D220-43A6-BA1A-BECECBBB0C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63464" y="2163097"/>
            <a:ext cx="3731342" cy="373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591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rIns="0" anchor="b" anchorCtr="0">
        <a:normAutofit fontScale="92500"/>
      </a:bodyPr>
      <a:lstStyle>
        <a:defPPr>
          <a:lnSpc>
            <a:spcPts val="900"/>
          </a:lnSpc>
          <a:defRPr sz="1300" b="1" dirty="0">
            <a:solidFill>
              <a:schemeClr val="tx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1" id="{B250B804-2FDB-4928-98F0-F76F4A35E307}" vid="{34B986A3-8F99-4F88-AF27-8B60A5DA0FD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FF0D56F0BB404AA9871B9C700A515C" ma:contentTypeVersion="7" ma:contentTypeDescription="Create a new document." ma:contentTypeScope="" ma:versionID="fad26a84f0f89f9c1c2f4827326be24e">
  <xsd:schema xmlns:xsd="http://www.w3.org/2001/XMLSchema" xmlns:xs="http://www.w3.org/2001/XMLSchema" xmlns:p="http://schemas.microsoft.com/office/2006/metadata/properties" xmlns:ns3="31c425fb-1d53-4574-b426-e1a225a0ea41" xmlns:ns4="75c206ef-5432-4885-83ef-efda48b8328d" targetNamespace="http://schemas.microsoft.com/office/2006/metadata/properties" ma:root="true" ma:fieldsID="45e5ae4cf1960ac5493ccc67d390997d" ns3:_="" ns4:_="">
    <xsd:import namespace="31c425fb-1d53-4574-b426-e1a225a0ea41"/>
    <xsd:import namespace="75c206ef-5432-4885-83ef-efda48b8328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c425fb-1d53-4574-b426-e1a225a0ea4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c206ef-5432-4885-83ef-efda48b832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272B9F3-442A-46D1-BA2D-1DA7F927B3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7369CFF-404F-4090-958E-D2B9F99436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1c425fb-1d53-4574-b426-e1a225a0ea41"/>
    <ds:schemaRef ds:uri="75c206ef-5432-4885-83ef-efda48b832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9AA62CC-3D5B-404F-9E0B-D6067C522C15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US</Template>
  <TotalTime>4749</TotalTime>
  <Words>54</Words>
  <Application>Microsoft Office PowerPoint</Application>
  <PresentationFormat>Widescreen</PresentationFormat>
  <Paragraphs>5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Deloitte_US_Onscreen</vt:lpstr>
      <vt:lpstr>Deloitte Forensic Accounting Case Study Deep Dive and Applied Analytics The session will include a walkthrough of a forensic accounting case study to highlight a typical engagement lifecycle and analytical tools utilized to conduct an investigation.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su, Audry</dc:creator>
  <cp:lastModifiedBy>Osterheld, Karen</cp:lastModifiedBy>
  <cp:revision>21</cp:revision>
  <cp:lastPrinted>2014-06-25T02:16:22Z</cp:lastPrinted>
  <dcterms:created xsi:type="dcterms:W3CDTF">2020-01-13T16:04:20Z</dcterms:created>
  <dcterms:modified xsi:type="dcterms:W3CDTF">2021-05-03T01:1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FF0D56F0BB404AA9871B9C700A515C</vt:lpwstr>
  </property>
</Properties>
</file>